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94" r:id="rId2"/>
    <p:sldId id="302" r:id="rId3"/>
    <p:sldId id="295" r:id="rId4"/>
    <p:sldId id="296" r:id="rId5"/>
    <p:sldId id="297" r:id="rId6"/>
    <p:sldId id="307" r:id="rId7"/>
    <p:sldId id="298" r:id="rId8"/>
    <p:sldId id="304" r:id="rId9"/>
    <p:sldId id="303" r:id="rId10"/>
    <p:sldId id="299" r:id="rId11"/>
    <p:sldId id="301" r:id="rId12"/>
  </p:sldIdLst>
  <p:sldSz cx="9144000" cy="6858000" type="screen4x3"/>
  <p:notesSz cx="6805613" cy="9944100"/>
  <p:custDataLst>
    <p:tags r:id="rId15"/>
  </p:custDataLst>
  <p:defaultTextStyle>
    <a:defPPr>
      <a:defRPr lang="da-DK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B1E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yst layout 2 - Markerin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yst layou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yst layout 2 - Markerin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yst layout 2 - Markering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Lyst layout 2 - Markering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660B408-B3CF-4A94-85FC-2B1E0A45F4A2}" styleName="Mørkt layout 2 - Markering 1/Markering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29" autoAdjust="0"/>
    <p:restoredTop sz="94280" autoAdjust="0"/>
  </p:normalViewPr>
  <p:slideViewPr>
    <p:cSldViewPr>
      <p:cViewPr varScale="1">
        <p:scale>
          <a:sx n="72" d="100"/>
          <a:sy n="72" d="100"/>
        </p:scale>
        <p:origin x="44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369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72" y="-96"/>
      </p:cViewPr>
      <p:guideLst>
        <p:guide orient="horz" pos="3133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Billed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672"/>
          <a:stretch>
            <a:fillRect/>
          </a:stretch>
        </p:blipFill>
        <p:spPr bwMode="auto">
          <a:xfrm>
            <a:off x="0" y="0"/>
            <a:ext cx="6805613" cy="80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225FC6E4-4779-49C8-A1E2-68907257B10A}" type="datetimeFigureOut">
              <a:rPr lang="da-DK"/>
              <a:pPr>
                <a:defRPr/>
              </a:pPr>
              <a:t>26-06-2024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da-DK"/>
              <a:t>side #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EC6F02E1-DD46-4D94-82C1-ABAF7ABFC3B1}" type="slidenum">
              <a:rPr lang="da-DK" altLang="da-DK"/>
              <a:pPr>
                <a:defRPr/>
              </a:pPr>
              <a:t>‹#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A0714203-951A-4E82-B4DA-ADDEF673CEA5}" type="datetimeFigureOut">
              <a:rPr lang="da-DK"/>
              <a:pPr>
                <a:defRPr/>
              </a:pPr>
              <a:t>26-06-2024</a:t>
            </a:fld>
            <a:endParaRPr lang="da-DK" dirty="0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0" rIns="91422" bIns="45710" rtlCol="0" anchor="ctr"/>
          <a:lstStyle/>
          <a:p>
            <a:pPr lvl="0"/>
            <a:endParaRPr lang="da-DK" noProof="0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1038" y="4722813"/>
            <a:ext cx="5443537" cy="4475162"/>
          </a:xfrm>
          <a:prstGeom prst="rect">
            <a:avLst/>
          </a:prstGeom>
        </p:spPr>
        <p:txBody>
          <a:bodyPr vert="horz" lIns="91422" tIns="45710" rIns="91422" bIns="45710" rtlCol="0"/>
          <a:lstStyle/>
          <a:p>
            <a:pPr lvl="0"/>
            <a:r>
              <a:rPr lang="da-DK" noProof="0" dirty="0"/>
              <a:t>Klik for at redigere i mast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da-DK"/>
              <a:t>side #</a:t>
            </a: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78D67188-9DDC-40A4-9F60-9120EFA89E3B}" type="slidenum">
              <a:rPr lang="da-DK" altLang="da-DK"/>
              <a:pPr>
                <a:defRPr/>
              </a:pPr>
              <a:t>‹#›</a:t>
            </a:fld>
            <a:endParaRPr lang="da-DK" alt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Pladsholder til diasbille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Pladsholder til no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a-DK" altLang="da-DK"/>
          </a:p>
        </p:txBody>
      </p:sp>
      <p:sp>
        <p:nvSpPr>
          <p:cNvPr id="7172" name="Pladsholder til sidefod 6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a-DK" altLang="da-DK"/>
              <a:t>side #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Pladsholder til diasbille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Pladsholder til no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da-DK" altLang="da-DK" b="1"/>
              <a:t>René</a:t>
            </a:r>
          </a:p>
        </p:txBody>
      </p:sp>
      <p:sp>
        <p:nvSpPr>
          <p:cNvPr id="15364" name="Pladsholder til sidefod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a-DK" altLang="da-DK"/>
              <a:t>side #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50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le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9138" y="1438275"/>
            <a:ext cx="6291262" cy="17907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ts val="3600"/>
              </a:lnSpc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19138" y="3429000"/>
            <a:ext cx="6291262" cy="2895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None/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29263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75656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47565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 dirty="0"/>
              <a:t>Klik på ikonet for at tilføje et billede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47565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524582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76672"/>
            <a:ext cx="6635080" cy="9409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63508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543935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07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le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/>
          <a:stretch>
            <a:fillRect/>
          </a:stretch>
        </p:blipFill>
        <p:spPr bwMode="auto">
          <a:xfrm>
            <a:off x="2320925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444208" y="274639"/>
            <a:ext cx="1800200" cy="4378498"/>
          </a:xfrm>
          <a:prstGeom prst="rect">
            <a:avLst/>
          </a:prstGeom>
        </p:spPr>
        <p:txBody>
          <a:bodyPr vert="eaVert"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59150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10"/>
          </p:nvPr>
        </p:nvSpPr>
        <p:spPr>
          <a:xfrm rot="5400000">
            <a:off x="7416800" y="5326063"/>
            <a:ext cx="1371600" cy="304800"/>
          </a:xfrm>
        </p:spPr>
        <p:txBody>
          <a:bodyPr/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11"/>
          </p:nvPr>
        </p:nvSpPr>
        <p:spPr>
          <a:xfrm rot="5400000">
            <a:off x="6481763" y="4759325"/>
            <a:ext cx="1371600" cy="1447800"/>
          </a:xfrm>
        </p:spPr>
        <p:txBody>
          <a:bodyPr/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266536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6"/>
            <a:ext cx="6635080" cy="47133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34524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6"/>
            <a:ext cx="6635080" cy="47133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for at redigere typografi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375753E-1A7E-CCD4-1E91-0864015F8C3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092950" y="3573463"/>
            <a:ext cx="1727200" cy="2519362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879182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/>
          <a:lstStyle>
            <a:lvl1pPr algn="l">
              <a:defRPr sz="3600" b="1" cap="all"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041150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412776"/>
            <a:ext cx="6635080" cy="360040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3240360" cy="42813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100"/>
            </a:lvl5pPr>
            <a:lvl6pPr>
              <a:defRPr sz="1000">
                <a:latin typeface="Times New Roman" pitchFamily="18" charset="0"/>
                <a:cs typeface="Times New Roman" pitchFamily="18" charset="0"/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3851920" y="1844824"/>
            <a:ext cx="3240360" cy="42813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 marL="2514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000">
                <a:latin typeface="Times New Roman" pitchFamily="18" charset="0"/>
                <a:cs typeface="Times New Roman" pitchFamily="18" charset="0"/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974946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63508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23807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238071" cy="395128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3852937" y="1535113"/>
            <a:ext cx="323934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3852937" y="2174875"/>
            <a:ext cx="3239343" cy="395128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4826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63508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59848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723135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3517230" cy="585311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932901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0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Billede 2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95338" y="1438275"/>
            <a:ext cx="6291262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iteltypografi i mastere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5338" y="1906588"/>
            <a:ext cx="6291262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eksttypografierne i masteren</a:t>
            </a:r>
          </a:p>
          <a:p>
            <a:pPr lvl="1"/>
            <a:r>
              <a:rPr lang="da-DK" altLang="da-DK"/>
              <a:t>Andet niveau</a:t>
            </a:r>
          </a:p>
          <a:p>
            <a:pPr lvl="2"/>
            <a:r>
              <a:rPr lang="da-DK" altLang="da-DK"/>
              <a:t>Tredje niveau</a:t>
            </a:r>
          </a:p>
          <a:p>
            <a:pPr lvl="3"/>
            <a:r>
              <a:rPr lang="da-DK" altLang="da-DK"/>
              <a:t>Fjerde niveau</a:t>
            </a:r>
          </a:p>
          <a:p>
            <a:pPr lvl="4"/>
            <a:r>
              <a:rPr lang="da-DK" altLang="da-DK"/>
              <a:t>Femte niveau</a:t>
            </a:r>
          </a:p>
          <a:p>
            <a:pPr lvl="4"/>
            <a:endParaRPr lang="da-DK" altLang="da-DK"/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000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14" name="Footer Placeholder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30" r:id="rId1"/>
    <p:sldLayoutId id="2147484221" r:id="rId2"/>
    <p:sldLayoutId id="2147484232" r:id="rId3"/>
    <p:sldLayoutId id="2147484222" r:id="rId4"/>
    <p:sldLayoutId id="2147484223" r:id="rId5"/>
    <p:sldLayoutId id="2147484224" r:id="rId6"/>
    <p:sldLayoutId id="2147484225" r:id="rId7"/>
    <p:sldLayoutId id="2147484226" r:id="rId8"/>
    <p:sldLayoutId id="2147484227" r:id="rId9"/>
    <p:sldLayoutId id="2147484228" r:id="rId10"/>
    <p:sldLayoutId id="2147484229" r:id="rId11"/>
    <p:sldLayoutId id="2147484231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286000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None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sikkerhedsnet.dk/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kkerhedsnet.dk/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 noChangeArrowheads="1"/>
          </p:cNvSpPr>
          <p:nvPr>
            <p:ph type="ctrTitle"/>
          </p:nvPr>
        </p:nvSpPr>
        <p:spPr>
          <a:xfrm>
            <a:off x="795338" y="1438275"/>
            <a:ext cx="6291262" cy="1790700"/>
          </a:xfrm>
        </p:spPr>
        <p:txBody>
          <a:bodyPr/>
          <a:lstStyle/>
          <a:p>
            <a:pPr eaLnBrk="1" hangingPunct="1"/>
            <a:r>
              <a:rPr lang="da-DK" altLang="da-DK" sz="3000" dirty="0"/>
              <a:t>DMO og Euro DMO</a:t>
            </a:r>
          </a:p>
        </p:txBody>
      </p:sp>
      <p:sp>
        <p:nvSpPr>
          <p:cNvPr id="5" name="Rektangel 3"/>
          <p:cNvSpPr>
            <a:spLocks noGrp="1" noChangeArrowheads="1"/>
          </p:cNvSpPr>
          <p:nvPr>
            <p:ph type="subTitle" idx="1"/>
          </p:nvPr>
        </p:nvSpPr>
        <p:spPr>
          <a:xfrm>
            <a:off x="795338" y="3429000"/>
            <a:ext cx="6291262" cy="2895600"/>
          </a:xfrm>
        </p:spPr>
        <p:txBody>
          <a:bodyPr/>
          <a:lstStyle/>
          <a:p>
            <a:pPr eaLnBrk="1" hangingPunct="1"/>
            <a:endParaRPr lang="da-DK" altLang="da-DK" dirty="0" smtClean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el 1"/>
          <p:cNvSpPr>
            <a:spLocks noGrp="1"/>
          </p:cNvSpPr>
          <p:nvPr>
            <p:ph type="title"/>
          </p:nvPr>
        </p:nvSpPr>
        <p:spPr>
          <a:xfrm>
            <a:off x="457200" y="549275"/>
            <a:ext cx="6635750" cy="792163"/>
          </a:xfrm>
        </p:spPr>
        <p:txBody>
          <a:bodyPr/>
          <a:lstStyle/>
          <a:p>
            <a:r>
              <a:rPr lang="da-DK" altLang="da-DK" dirty="0"/>
              <a:t>Euro DMO</a:t>
            </a:r>
          </a:p>
        </p:txBody>
      </p:sp>
      <p:sp>
        <p:nvSpPr>
          <p:cNvPr id="17411" name="Pladsholder til indhold 2"/>
          <p:cNvSpPr>
            <a:spLocks noGrp="1"/>
          </p:cNvSpPr>
          <p:nvPr>
            <p:ph idx="1"/>
          </p:nvPr>
        </p:nvSpPr>
        <p:spPr>
          <a:xfrm>
            <a:off x="457200" y="1412875"/>
            <a:ext cx="6635750" cy="3024237"/>
          </a:xfrm>
        </p:spPr>
        <p:txBody>
          <a:bodyPr/>
          <a:lstStyle/>
          <a:p>
            <a:pPr marL="0" indent="0">
              <a:spcAft>
                <a:spcPts val="2000"/>
              </a:spcAft>
              <a:buFont typeface="Arial" panose="020B0604020202020204" pitchFamily="34" charset="0"/>
              <a:buNone/>
            </a:pPr>
            <a:r>
              <a:rPr lang="da-DK" altLang="da-DK" dirty="0"/>
              <a:t>Alle radioer indeholder som udgangspunkt 10 Euro DMO-talegrupper, som ikke er krypterede.</a:t>
            </a:r>
          </a:p>
          <a:p>
            <a:pPr marL="0" indent="0">
              <a:spcAft>
                <a:spcPts val="2000"/>
              </a:spcAft>
              <a:buFont typeface="Arial" panose="020B0604020202020204" pitchFamily="34" charset="0"/>
              <a:buNone/>
            </a:pPr>
            <a:r>
              <a:rPr lang="da-DK" altLang="da-DK" dirty="0"/>
              <a:t>Disse talegrupper er beregnet til kommunikation med beredskaber i andre lande, der også anvender Tetra-radioer, heriblandt Sverige, Norge og Tyskland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a-DK" altLang="da-DK" dirty="0"/>
              <a:t>Man skal være opmærksom på, at Euro DMO-talegrupperne deler samme frekvens med nogle talegrupper i SKS DMO samt nogle af beredskabernes interne talegrupper. Talegrupperne kan derfor forstyrre hinanden, hvis de bruges inden for samme geografiske område. 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/>
              <a:t>Talegrupper i Euro DMO</a:t>
            </a:r>
          </a:p>
        </p:txBody>
      </p:sp>
      <p:pic>
        <p:nvPicPr>
          <p:cNvPr id="5" name="Billede 4" descr="Logo: CFB – Center for Beredskabskommunikation.">
            <a:extLst>
              <a:ext uri="{FF2B5EF4-FFF2-40B4-BE49-F238E27FC236}">
                <a16:creationId xmlns:a16="http://schemas.microsoft.com/office/drawing/2014/main" id="{35584A2A-ABDC-C6B6-268B-F4D40D8AE9D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7429"/>
            <a:ext cx="1944216" cy="459283"/>
          </a:xfrm>
          <a:prstGeom prst="rect">
            <a:avLst/>
          </a:prstGeom>
        </p:spPr>
      </p:pic>
      <p:graphicFrame>
        <p:nvGraphicFramePr>
          <p:cNvPr id="6" name="Tabel 5" descr="Tabel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84489902"/>
              </p:ext>
            </p:extLst>
          </p:nvPr>
        </p:nvGraphicFramePr>
        <p:xfrm>
          <a:off x="2267744" y="1412875"/>
          <a:ext cx="4248472" cy="3733796"/>
        </p:xfrm>
        <a:graphic>
          <a:graphicData uri="http://schemas.openxmlformats.org/drawingml/2006/table">
            <a:tbl>
              <a:tblPr firstRow="1"/>
              <a:tblGrid>
                <a:gridCol w="2192206">
                  <a:extLst>
                    <a:ext uri="{9D8B030D-6E8A-4147-A177-3AD203B41FA5}">
                      <a16:colId xmlns:a16="http://schemas.microsoft.com/office/drawing/2014/main" val="2174012198"/>
                    </a:ext>
                  </a:extLst>
                </a:gridCol>
                <a:gridCol w="2056266">
                  <a:extLst>
                    <a:ext uri="{9D8B030D-6E8A-4147-A177-3AD203B41FA5}">
                      <a16:colId xmlns:a16="http://schemas.microsoft.com/office/drawing/2014/main" val="4214755333"/>
                    </a:ext>
                  </a:extLst>
                </a:gridCol>
              </a:tblGrid>
              <a:tr h="63806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-talegruppe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tionale DMO-talegrupper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282223"/>
                  </a:ext>
                </a:extLst>
              </a:tr>
              <a:tr h="30957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1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L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656706"/>
                  </a:ext>
                </a:extLst>
              </a:tr>
              <a:tr h="30957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2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ND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992794"/>
                  </a:ext>
                </a:extLst>
              </a:tr>
              <a:tr h="30957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3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K Leder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5677579"/>
                  </a:ext>
                </a:extLst>
              </a:tr>
              <a:tr h="30957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4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2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7685186"/>
                  </a:ext>
                </a:extLst>
              </a:tr>
              <a:tr h="30957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5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ST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626579"/>
                  </a:ext>
                </a:extLst>
              </a:tr>
              <a:tr h="30957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6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ldleder Brand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2417860"/>
                  </a:ext>
                </a:extLst>
              </a:tr>
              <a:tr h="30957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7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4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638286"/>
                  </a:ext>
                </a:extLst>
              </a:tr>
              <a:tr h="30957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8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nd 1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093974"/>
                  </a:ext>
                </a:extLst>
              </a:tr>
              <a:tr h="30957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9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3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602730"/>
                  </a:ext>
                </a:extLst>
              </a:tr>
              <a:tr h="30957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uro DMO 10 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1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1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9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da-DK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 1</a:t>
                      </a:r>
                    </a:p>
                  </a:txBody>
                  <a:tcPr marL="68588" marR="68588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1E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4893806"/>
                  </a:ext>
                </a:extLst>
              </a:tr>
            </a:tbl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95A4E2C-142C-12F3-C7DA-C915DADD3D1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584262" y="5558400"/>
            <a:ext cx="5256337" cy="858838"/>
          </a:xfrm>
        </p:spPr>
        <p:txBody>
          <a:bodyPr/>
          <a:lstStyle/>
          <a:p>
            <a:pPr algn="ctr">
              <a:spcBef>
                <a:spcPct val="0"/>
              </a:spcBef>
              <a:buFontTx/>
              <a:buNone/>
            </a:pPr>
            <a:r>
              <a:rPr lang="da-DK" altLang="da-DK" sz="1400" dirty="0">
                <a:latin typeface="Calibri" panose="020F0502020204030204" pitchFamily="34" charset="0"/>
              </a:rPr>
              <a:t>Ovenstående talegrupper deler samme frekvens og kan risikere at forstyrre hinanden, hvilket man fx skal være opmærksom på ved hændelser i grænseområder.</a:t>
            </a:r>
            <a:endParaRPr lang="da-DK" altLang="da-DK" sz="14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>
          <a:xfrm>
            <a:off x="457200" y="549275"/>
            <a:ext cx="6635750" cy="792163"/>
          </a:xfrm>
        </p:spPr>
        <p:txBody>
          <a:bodyPr/>
          <a:lstStyle/>
          <a:p>
            <a:r>
              <a:rPr lang="da-DK" altLang="da-DK" dirty="0"/>
              <a:t>Indhold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875"/>
            <a:ext cx="6635750" cy="3024237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  <a:defRPr/>
            </a:pPr>
            <a:r>
              <a:rPr lang="da-DK" b="1" dirty="0"/>
              <a:t>DMO</a:t>
            </a:r>
          </a:p>
          <a:p>
            <a:pPr>
              <a:defRPr/>
            </a:pPr>
            <a:r>
              <a:rPr lang="da-DK" dirty="0"/>
              <a:t>Anvendelse af DMO</a:t>
            </a:r>
          </a:p>
          <a:p>
            <a:pPr>
              <a:defRPr/>
            </a:pPr>
            <a:r>
              <a:rPr lang="da-DK" dirty="0"/>
              <a:t>Opmærksomhedspunkter ved brug af DMO</a:t>
            </a:r>
            <a:endParaRPr lang="da-DK" b="1" dirty="0"/>
          </a:p>
          <a:p>
            <a:pPr>
              <a:defRPr/>
            </a:pPr>
            <a:r>
              <a:rPr lang="da-DK" dirty="0"/>
              <a:t>Talegrupper i DMO skadestedssæt (SKS)</a:t>
            </a:r>
          </a:p>
          <a:p>
            <a:pPr>
              <a:defRPr/>
            </a:pPr>
            <a:r>
              <a:rPr lang="da-DK" altLang="da-DK" dirty="0"/>
              <a:t>Indsatsledelsens kommunikation i DMO</a:t>
            </a:r>
            <a:endParaRPr lang="da-DK" dirty="0"/>
          </a:p>
          <a:p>
            <a:pPr>
              <a:defRPr/>
            </a:pPr>
            <a:r>
              <a:rPr lang="da-DK" dirty="0"/>
              <a:t>Intern kommunikation i DMO</a:t>
            </a:r>
          </a:p>
          <a:p>
            <a:pPr marL="0" indent="0">
              <a:spcBef>
                <a:spcPts val="2700"/>
              </a:spcBef>
              <a:buFont typeface="Arial" panose="020B0604020202020204" pitchFamily="34" charset="0"/>
              <a:buNone/>
              <a:defRPr/>
            </a:pPr>
            <a:r>
              <a:rPr lang="da-DK" b="1" dirty="0"/>
              <a:t>DMO-</a:t>
            </a:r>
            <a:r>
              <a:rPr lang="da-DK" b="1" dirty="0" err="1"/>
              <a:t>netskitser</a:t>
            </a:r>
            <a:endParaRPr lang="da-DK" dirty="0"/>
          </a:p>
          <a:p>
            <a:pPr marL="0" indent="0">
              <a:spcBef>
                <a:spcPts val="2700"/>
              </a:spcBef>
              <a:buFont typeface="Arial" panose="020B0604020202020204" pitchFamily="34" charset="0"/>
              <a:buNone/>
              <a:defRPr/>
            </a:pPr>
            <a:r>
              <a:rPr lang="da-DK" b="1" dirty="0"/>
              <a:t>Euro DMO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/>
          <p:cNvSpPr>
            <a:spLocks noGrp="1"/>
          </p:cNvSpPr>
          <p:nvPr>
            <p:ph type="title"/>
          </p:nvPr>
        </p:nvSpPr>
        <p:spPr>
          <a:xfrm>
            <a:off x="457200" y="549275"/>
            <a:ext cx="6635750" cy="792163"/>
          </a:xfrm>
        </p:spPr>
        <p:txBody>
          <a:bodyPr/>
          <a:lstStyle/>
          <a:p>
            <a:r>
              <a:rPr lang="da-DK" altLang="da-DK" dirty="0"/>
              <a:t>Anvendelse af DMO</a:t>
            </a:r>
          </a:p>
        </p:txBody>
      </p:sp>
      <p:sp>
        <p:nvSpPr>
          <p:cNvPr id="9219" name="Pladsholder til indhold 2"/>
          <p:cNvSpPr>
            <a:spLocks noGrp="1"/>
          </p:cNvSpPr>
          <p:nvPr>
            <p:ph idx="1"/>
          </p:nvPr>
        </p:nvSpPr>
        <p:spPr>
          <a:xfrm>
            <a:off x="457200" y="1412875"/>
            <a:ext cx="7138988" cy="2304157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altLang="da-DK" dirty="0"/>
              <a:t>DMO (</a:t>
            </a:r>
            <a:r>
              <a:rPr lang="da-DK" altLang="da-DK" dirty="0" err="1"/>
              <a:t>direct</a:t>
            </a:r>
            <a:r>
              <a:rPr lang="da-DK" altLang="da-DK" dirty="0"/>
              <a:t> mode) er en mindre avanceret form for kommunikation, hvor radioerne kommunikerer direkte sammen uden om SINE-nettet.</a:t>
            </a:r>
          </a:p>
          <a:p>
            <a:pPr marL="0" indent="0">
              <a:spcBef>
                <a:spcPts val="2700"/>
              </a:spcBef>
              <a:spcAft>
                <a:spcPts val="2300"/>
              </a:spcAft>
              <a:buFont typeface="Arial" panose="020B0604020202020204" pitchFamily="34" charset="0"/>
              <a:buNone/>
            </a:pPr>
            <a:r>
              <a:rPr lang="da-DK" altLang="da-DK" dirty="0"/>
              <a:t>Radioerne skal være inden for rækkevidde af hinanden for at benytte DMO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a-DK" altLang="da-DK" dirty="0"/>
              <a:t>Rækkevidden vil variere alt afhængigt af radioens kapacitet (sendestyrke) og omgivelserne, men den vil i åbent landskab ligge på op til ca. to kilometer. I byområder er </a:t>
            </a:r>
            <a:r>
              <a:rPr lang="da-DK" altLang="da-DK" dirty="0" err="1"/>
              <a:t>rækkeviden</a:t>
            </a:r>
            <a:r>
              <a:rPr lang="da-DK" altLang="da-DK" dirty="0"/>
              <a:t> væsentligt mindre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el 1"/>
          <p:cNvSpPr>
            <a:spLocks noGrp="1"/>
          </p:cNvSpPr>
          <p:nvPr>
            <p:ph type="title"/>
          </p:nvPr>
        </p:nvSpPr>
        <p:spPr>
          <a:xfrm>
            <a:off x="457200" y="549275"/>
            <a:ext cx="6635750" cy="792163"/>
          </a:xfrm>
        </p:spPr>
        <p:txBody>
          <a:bodyPr/>
          <a:lstStyle/>
          <a:p>
            <a:r>
              <a:rPr lang="da-DK" altLang="da-DK" dirty="0"/>
              <a:t>Opmærksomhedspunkter ved brug af DMO</a:t>
            </a:r>
          </a:p>
        </p:txBody>
      </p:sp>
      <p:sp>
        <p:nvSpPr>
          <p:cNvPr id="9219" name="Pladsholder til indhold 2"/>
          <p:cNvSpPr>
            <a:spLocks noGrp="1"/>
          </p:cNvSpPr>
          <p:nvPr>
            <p:ph idx="1"/>
          </p:nvPr>
        </p:nvSpPr>
        <p:spPr>
          <a:xfrm>
            <a:off x="457200" y="1412875"/>
            <a:ext cx="6635750" cy="3312269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2200"/>
              </a:spcAft>
              <a:buFont typeface="Arial" panose="020B0604020202020204" pitchFamily="34" charset="0"/>
              <a:buNone/>
              <a:defRPr/>
            </a:pPr>
            <a:r>
              <a:rPr lang="da-DK" altLang="da-DK" dirty="0"/>
              <a:t>Ved brug af DMO skal man være opmærksom på følgende:</a:t>
            </a:r>
          </a:p>
          <a:p>
            <a:pPr>
              <a:spcAft>
                <a:spcPts val="2000"/>
              </a:spcAft>
              <a:defRPr/>
            </a:pPr>
            <a:r>
              <a:rPr lang="da-DK" altLang="da-DK" dirty="0"/>
              <a:t>Nødopkald kan ikke med sikkerhed gå tilbage til vagtcentralen</a:t>
            </a:r>
          </a:p>
          <a:p>
            <a:pPr>
              <a:spcAft>
                <a:spcPts val="2000"/>
              </a:spcAft>
              <a:defRPr/>
            </a:pPr>
            <a:r>
              <a:rPr lang="da-DK" altLang="da-DK" dirty="0"/>
              <a:t>Kontakt til baglandet (fx vagtcentral og tilgående styrker) kan ikke opretholdes</a:t>
            </a:r>
          </a:p>
          <a:p>
            <a:pPr>
              <a:spcAft>
                <a:spcPts val="2000"/>
              </a:spcAft>
              <a:defRPr/>
            </a:pPr>
            <a:r>
              <a:rPr lang="da-DK" altLang="da-DK" dirty="0"/>
              <a:t>Funktioner som positionering, stillelytning og statusmeldinger er ikke mulige</a:t>
            </a:r>
          </a:p>
          <a:p>
            <a:pPr>
              <a:defRPr/>
            </a:pPr>
            <a:r>
              <a:rPr lang="da-DK" altLang="da-DK" dirty="0"/>
              <a:t>Det er den pågældende radios programmering, der afgør, om radioen er krypteret og dermed ikke kan aflyttes af uvedkommende.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/>
              <a:t>Talegrupper i DMO skadestedssæt</a:t>
            </a:r>
          </a:p>
        </p:txBody>
      </p:sp>
      <p:sp>
        <p:nvSpPr>
          <p:cNvPr id="11268" name="Pladsholder til indhold 2"/>
          <p:cNvSpPr>
            <a:spLocks noGrp="1"/>
          </p:cNvSpPr>
          <p:nvPr>
            <p:ph idx="1"/>
          </p:nvPr>
        </p:nvSpPr>
        <p:spPr>
          <a:xfrm>
            <a:off x="457200" y="1412777"/>
            <a:ext cx="6635080" cy="936724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altLang="da-DK" dirty="0"/>
              <a:t>Alle SINE-radioer er som udgangspunkt programmeret med ét DMO skadestedssæt (SKS), der indeholder seks talegrupper, der er dedikeret til beredskabernes tværgående kommunikation uden om SINE-nettet.</a:t>
            </a:r>
          </a:p>
        </p:txBody>
      </p:sp>
      <p:pic>
        <p:nvPicPr>
          <p:cNvPr id="11269" name="Billede 5" descr="Skærmprint af en tabel med tekst.&#10;Kontakt Center for Beredskabskommunikation for en gennemgang af teksten.&#10;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82" t="28999" r="34250" b="24800"/>
          <a:stretch>
            <a:fillRect/>
          </a:stretch>
        </p:blipFill>
        <p:spPr bwMode="auto">
          <a:xfrm>
            <a:off x="355600" y="2349500"/>
            <a:ext cx="6765925" cy="381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B3366147-DE87-C06C-2C2F-1F757C44F9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336800" y="3909600"/>
            <a:ext cx="1407096" cy="2256250"/>
          </a:xfrm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r>
              <a:rPr lang="da-DK" altLang="da-DK" sz="1400" dirty="0"/>
              <a:t>Beslutning om skift til SKS DMO foregår efter samme principper som skift til tildelt SKS TMO og træffes udelukkende af indsatsledelsen, jf. REFIL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1"/>
          <p:cNvSpPr>
            <a:spLocks noGrp="1"/>
          </p:cNvSpPr>
          <p:nvPr>
            <p:ph type="title"/>
          </p:nvPr>
        </p:nvSpPr>
        <p:spPr>
          <a:xfrm>
            <a:off x="457200" y="549275"/>
            <a:ext cx="6635750" cy="792163"/>
          </a:xfrm>
        </p:spPr>
        <p:txBody>
          <a:bodyPr/>
          <a:lstStyle/>
          <a:p>
            <a:r>
              <a:rPr lang="da-DK" altLang="da-DK" dirty="0"/>
              <a:t>Indsatsledelsens kommunikation i DMO</a:t>
            </a:r>
          </a:p>
        </p:txBody>
      </p:sp>
      <p:pic>
        <p:nvPicPr>
          <p:cNvPr id="3" name="Billede 2" descr="Diagram som viser Indsatsledelsens kommunikation i DMO.&#10;DMO SKS Talegruppe ISL, går videre til&#10;- ISL POLITI&#10;- ISL SUND&#10;- ISL BRAND&#10;">
            <a:extLst>
              <a:ext uri="{FF2B5EF4-FFF2-40B4-BE49-F238E27FC236}">
                <a16:creationId xmlns:a16="http://schemas.microsoft.com/office/drawing/2014/main" id="{284EFD96-D312-6755-ADDB-782308BE4D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350" y="1909763"/>
            <a:ext cx="6788793" cy="4746613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altLang="da-DK" dirty="0"/>
              <a:t>Intern kommunikation i DMO</a:t>
            </a:r>
          </a:p>
        </p:txBody>
      </p:sp>
      <p:sp>
        <p:nvSpPr>
          <p:cNvPr id="13315" name="Pladsholder til indhold 2"/>
          <p:cNvSpPr>
            <a:spLocks noGrp="1"/>
          </p:cNvSpPr>
          <p:nvPr>
            <p:ph idx="1"/>
          </p:nvPr>
        </p:nvSpPr>
        <p:spPr>
          <a:xfrm>
            <a:off x="457200" y="1512000"/>
            <a:ext cx="6635080" cy="720254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altLang="da-DK" dirty="0"/>
              <a:t>Følgende beredskabssektorer råder over et antal interne DMO-talegrupper til kommunikation i egen sektor.</a:t>
            </a:r>
          </a:p>
        </p:txBody>
      </p:sp>
      <p:pic>
        <p:nvPicPr>
          <p:cNvPr id="13316" name="Billede 5" descr="Skærmprint af en tabel med tekst.&#10;Kontakt Center for Beredskabskommunikation for en gennemgang af teksten.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3" t="43700" r="59448" b="17101"/>
          <a:stretch>
            <a:fillRect/>
          </a:stretch>
        </p:blipFill>
        <p:spPr bwMode="auto">
          <a:xfrm>
            <a:off x="323850" y="2205038"/>
            <a:ext cx="5962650" cy="407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A2BBB6AE-6BEF-ED0E-2661-A4CED8FDE61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68800" y="6170400"/>
            <a:ext cx="5791919" cy="502345"/>
          </a:xfrm>
        </p:spPr>
        <p:txBody>
          <a:bodyPr/>
          <a:lstStyle/>
          <a:p>
            <a:pPr>
              <a:spcBef>
                <a:spcPct val="0"/>
              </a:spcBef>
              <a:buFontTx/>
              <a:buNone/>
            </a:pPr>
            <a:r>
              <a:rPr lang="da-DK" altLang="da-DK" sz="1400" dirty="0"/>
              <a:t>* Politiets interne DMO-talegrupper findes på politiets interne platforme</a:t>
            </a:r>
            <a:r>
              <a:rPr lang="da-DK" altLang="da-DK" sz="1200" dirty="0"/>
              <a:t>.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Billede 8" descr="Skærmprint af diagrammet ISL BRAND - indsatsområde.&#10;Kontakt Center for Beredskabskommunikation for en gennemgang af diagrammet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57" t="22701" r="17319" b="10802"/>
          <a:stretch>
            <a:fillRect/>
          </a:stretch>
        </p:blipFill>
        <p:spPr bwMode="auto">
          <a:xfrm>
            <a:off x="179388" y="260350"/>
            <a:ext cx="8734425" cy="482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58FF6E1-CE9F-DE0F-C239-10E0BB722A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7600" y="5706000"/>
            <a:ext cx="6635080" cy="465138"/>
          </a:xfrm>
        </p:spPr>
        <p:txBody>
          <a:bodyPr/>
          <a:lstStyle/>
          <a:p>
            <a:pPr marL="0" indent="0">
              <a:buNone/>
            </a:pPr>
            <a:r>
              <a:rPr lang="da-DK" altLang="da-DK" sz="1600" dirty="0"/>
              <a:t>Der er flere </a:t>
            </a:r>
            <a:r>
              <a:rPr lang="da-DK" altLang="da-DK" sz="1600" dirty="0" err="1"/>
              <a:t>netskitser</a:t>
            </a:r>
            <a:r>
              <a:rPr lang="da-DK" altLang="da-DK" sz="1600" dirty="0"/>
              <a:t> på </a:t>
            </a:r>
            <a:r>
              <a:rPr lang="da-DK" altLang="da-DK" sz="1600" dirty="0">
                <a:hlinkClick r:id="rId4" tooltip="www.sikkerhedsnet.dk"/>
              </a:rPr>
              <a:t>www.sikkerhedsnet.dk </a:t>
            </a:r>
            <a:endParaRPr lang="da-DK" altLang="da-DK" sz="16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Billede 5" descr="Skærmprint af diagrammet ISL BRAND – indsatsområde opdelt i 2 skadesteder.&#10;Kontakt Center for Beredskabskommunikation for en gennemgang af diagrammet&#10;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57" t="22002" r="17319" b="13600"/>
          <a:stretch>
            <a:fillRect/>
          </a:stretch>
        </p:blipFill>
        <p:spPr bwMode="auto">
          <a:xfrm>
            <a:off x="61913" y="30163"/>
            <a:ext cx="9047162" cy="483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BCBE3185-A678-399C-AE41-E2647688D7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7600" y="5706000"/>
            <a:ext cx="6635080" cy="338138"/>
          </a:xfrm>
        </p:spPr>
        <p:txBody>
          <a:bodyPr/>
          <a:lstStyle/>
          <a:p>
            <a:pPr marL="0" indent="0">
              <a:buNone/>
            </a:pPr>
            <a:r>
              <a:rPr lang="da-DK" altLang="da-DK" sz="1600" dirty="0"/>
              <a:t>Der er flere </a:t>
            </a:r>
            <a:r>
              <a:rPr lang="da-DK" altLang="da-DK" sz="1600" dirty="0" err="1"/>
              <a:t>netskitser</a:t>
            </a:r>
            <a:r>
              <a:rPr lang="da-DK" altLang="da-DK" sz="1600" dirty="0"/>
              <a:t> på </a:t>
            </a:r>
            <a:r>
              <a:rPr lang="da-DK" altLang="da-DK" sz="1600" dirty="0">
                <a:hlinkClick r:id="rId3" tooltip="www.sikkerhedsnet.dk"/>
              </a:rPr>
              <a:t>www.sikkerhedsnet.dk</a:t>
            </a:r>
            <a:endParaRPr lang="da-DK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SSISTID" val="58e6d407-03c5-475a-80f8-9e1127a583a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FB-powerpoint DK">
  <a:themeElements>
    <a:clrScheme name="CFB">
      <a:dk1>
        <a:sysClr val="windowText" lastClr="000000"/>
      </a:dk1>
      <a:lt1>
        <a:sysClr val="window" lastClr="FFFFFF"/>
      </a:lt1>
      <a:dk2>
        <a:srgbClr val="001E3C"/>
      </a:dk2>
      <a:lt2>
        <a:srgbClr val="B1E3FF"/>
      </a:lt2>
      <a:accent1>
        <a:srgbClr val="D4E600"/>
      </a:accent1>
      <a:accent2>
        <a:srgbClr val="959595"/>
      </a:accent2>
      <a:accent3>
        <a:srgbClr val="3C3C3C"/>
      </a:accent3>
      <a:accent4>
        <a:srgbClr val="CECECE"/>
      </a:accent4>
      <a:accent5>
        <a:srgbClr val="4BACC6"/>
      </a:accent5>
      <a:accent6>
        <a:srgbClr val="E2F4FF"/>
      </a:accent6>
      <a:hlink>
        <a:srgbClr val="1B99CD"/>
      </a:hlink>
      <a:folHlink>
        <a:srgbClr val="959595"/>
      </a:folHlink>
    </a:clrScheme>
    <a:fontScheme name="CFB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9091</TotalTime>
  <Words>443</Words>
  <Application>Microsoft Office PowerPoint</Application>
  <PresentationFormat>On-screen Show (4:3)</PresentationFormat>
  <Paragraphs>60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Times New Roman</vt:lpstr>
      <vt:lpstr>CFB-powerpoint DK</vt:lpstr>
      <vt:lpstr>think-cell Slide</vt:lpstr>
      <vt:lpstr>DMO og Euro DMO</vt:lpstr>
      <vt:lpstr>Indhold</vt:lpstr>
      <vt:lpstr>Anvendelse af DMO</vt:lpstr>
      <vt:lpstr>Opmærksomhedspunkter ved brug af DMO</vt:lpstr>
      <vt:lpstr>Talegrupper i DMO skadestedssæt</vt:lpstr>
      <vt:lpstr>Indsatsledelsens kommunikation i DMO</vt:lpstr>
      <vt:lpstr>Intern kommunikation i DMO</vt:lpstr>
      <vt:lpstr>PowerPoint Presentation</vt:lpstr>
      <vt:lpstr>PowerPoint Presentation</vt:lpstr>
      <vt:lpstr>Euro DMO</vt:lpstr>
      <vt:lpstr>Talegrupper i Euro DM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MO og Euro DMO</dc:title>
  <cp:revision>30</cp:revision>
  <cp:lastPrinted>2018-10-30T14:42:45Z</cp:lastPrinted>
  <dcterms:created xsi:type="dcterms:W3CDTF">2013-12-09T07:52:30Z</dcterms:created>
  <dcterms:modified xsi:type="dcterms:W3CDTF">2024-06-26T07:19:26Z</dcterms:modified>
</cp:coreProperties>
</file>